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9" r:id="rId4"/>
    <p:sldMasterId id="2147483704" r:id="rId5"/>
  </p:sldMasterIdLst>
  <p:notesMasterIdLst>
    <p:notesMasterId r:id="rId13"/>
  </p:notesMasterIdLst>
  <p:handoutMasterIdLst>
    <p:handoutMasterId r:id="rId14"/>
  </p:handoutMasterIdLst>
  <p:sldIdLst>
    <p:sldId id="764" r:id="rId6"/>
    <p:sldId id="760" r:id="rId7"/>
    <p:sldId id="761" r:id="rId8"/>
    <p:sldId id="765" r:id="rId9"/>
    <p:sldId id="759" r:id="rId10"/>
    <p:sldId id="767" r:id="rId11"/>
    <p:sldId id="766" r:id="rId12"/>
  </p:sldIdLst>
  <p:sldSz cx="9144000" cy="5143500" type="screen16x9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20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uleria, Deepak" initials="GD" lastIdx="3" clrIdx="0">
    <p:extLst>
      <p:ext uri="{19B8F6BF-5375-455C-9EA6-DF929625EA0E}">
        <p15:presenceInfo xmlns:p15="http://schemas.microsoft.com/office/powerpoint/2012/main" userId="S-1-5-21-954130684-3649123220-2484908513-4366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02B20"/>
    <a:srgbClr val="006600"/>
    <a:srgbClr val="FFFFFF"/>
    <a:srgbClr val="BF311A"/>
    <a:srgbClr val="A21B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6397" autoAdjust="0"/>
    <p:restoredTop sz="96412" autoAdjust="0"/>
  </p:normalViewPr>
  <p:slideViewPr>
    <p:cSldViewPr snapToGrid="0">
      <p:cViewPr>
        <p:scale>
          <a:sx n="100" d="100"/>
          <a:sy n="100" d="100"/>
        </p:scale>
        <p:origin x="652" y="-296"/>
      </p:cViewPr>
      <p:guideLst>
        <p:guide orient="horz" pos="162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5" d="100"/>
          <a:sy n="65" d="100"/>
        </p:scale>
        <p:origin x="-2904" y="-108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commentAuthors" Target="commentAuthors.xml"/><Relationship Id="rId10" Type="http://schemas.openxmlformats.org/officeDocument/2006/relationships/slide" Target="slides/slide5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2309" tIns="46154" rIns="92309" bIns="46154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2309" tIns="46154" rIns="92309" bIns="46154" rtlCol="0"/>
          <a:lstStyle>
            <a:lvl1pPr algn="r">
              <a:defRPr sz="1200"/>
            </a:lvl1pPr>
          </a:lstStyle>
          <a:p>
            <a:fld id="{762D91F2-3EAF-4DC9-82DB-C5B942D6C6E2}" type="datetimeFigureOut">
              <a:rPr lang="en-US" smtClean="0"/>
              <a:pPr/>
              <a:t>10/12/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2309" tIns="46154" rIns="92309" bIns="46154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2309" tIns="46154" rIns="92309" bIns="46154" rtlCol="0" anchor="b"/>
          <a:lstStyle>
            <a:lvl1pPr algn="r">
              <a:defRPr sz="1200"/>
            </a:lvl1pPr>
          </a:lstStyle>
          <a:p>
            <a:fld id="{FF2E8FE3-F0F1-4A12-89EC-D1930EC3F0C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268566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2309" tIns="46154" rIns="92309" bIns="46154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2309" tIns="46154" rIns="92309" bIns="46154" rtlCol="0"/>
          <a:lstStyle>
            <a:lvl1pPr algn="r">
              <a:defRPr sz="1200"/>
            </a:lvl1pPr>
          </a:lstStyle>
          <a:p>
            <a:fld id="{C0086D83-08A0-4D50-88D4-5CDED7F2541D}" type="datetimeFigureOut">
              <a:rPr lang="en-US" smtClean="0"/>
              <a:pPr/>
              <a:t>10/12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8500"/>
            <a:ext cx="61976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309" tIns="46154" rIns="92309" bIns="46154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2309" tIns="46154" rIns="92309" bIns="46154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2309" tIns="46154" rIns="92309" bIns="46154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2309" tIns="46154" rIns="92309" bIns="46154" rtlCol="0" anchor="b"/>
          <a:lstStyle>
            <a:lvl1pPr algn="r">
              <a:defRPr sz="1200"/>
            </a:lvl1pPr>
          </a:lstStyle>
          <a:p>
            <a:fld id="{3446483F-6AA2-4EDD-80AF-84E0E9E6A8D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5687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A9E2563-5BDA-844B-B692-DD5EDA5D4F51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76738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8613"/>
            <a:ext cx="7772400" cy="11017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B65E5D28-DD98-4E91-9A47-5EF3E6FFCD68}" type="datetimeFigureOut">
              <a:rPr lang="en-US" smtClean="0"/>
              <a:pPr/>
              <a:t>10/12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26052222-04F8-4497-B1FA-DFBDD354FF49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B65E5D28-DD98-4E91-9A47-5EF3E6FFCD68}" type="datetimeFigureOut">
              <a:rPr lang="en-US" smtClean="0"/>
              <a:pPr/>
              <a:t>10/12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26052222-04F8-4497-B1FA-DFBDD354FF49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6375"/>
            <a:ext cx="2057400" cy="438785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6375"/>
            <a:ext cx="6019800" cy="438785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B65E5D28-DD98-4E91-9A47-5EF3E6FFCD68}" type="datetimeFigureOut">
              <a:rPr lang="en-US" smtClean="0"/>
              <a:pPr/>
              <a:t>10/12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26052222-04F8-4497-B1FA-DFBDD354FF49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35749" cy="1079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8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AutoShape 1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35749" cy="10798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23229" y="4820417"/>
            <a:ext cx="2455978" cy="146861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pPr defTabSz="746584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/>
              <a:t>Copyright © Capgemini 2014. All Rights Reserve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8824871" y="4990498"/>
            <a:ext cx="115416" cy="92333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fld id="{880BADDE-CEDF-4108-ADCD-25C7E5D681A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>
          <a:xfrm>
            <a:off x="6223229" y="4967551"/>
            <a:ext cx="2455978" cy="137627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fr-FR" dirty="0"/>
              <a:t>20141218_NA_CMA-Plan_J&amp;J_after session_V02_NBK.pptx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52046" y="1126483"/>
            <a:ext cx="8639908" cy="3477404"/>
          </a:xfrm>
        </p:spPr>
        <p:txBody>
          <a:bodyPr/>
          <a:lstStyle>
            <a:lvl1pPr>
              <a:defRPr>
                <a:latin typeface="Arial" pitchFamily="34" charset="0"/>
              </a:defRPr>
            </a:lvl1pPr>
            <a:lvl2pPr marL="135731" indent="-135731">
              <a:defRPr>
                <a:latin typeface="Arial" pitchFamily="34" charset="0"/>
              </a:defRPr>
            </a:lvl2pPr>
            <a:lvl3pPr marL="271463" indent="-133350">
              <a:tabLst/>
              <a:defRPr>
                <a:latin typeface="Arial" pitchFamily="34" charset="0"/>
              </a:defRPr>
            </a:lvl3pPr>
            <a:lvl4pPr marL="407194" indent="-135731">
              <a:defRPr>
                <a:latin typeface="Arial" pitchFamily="34" charset="0"/>
              </a:defRPr>
            </a:lvl4pPr>
            <a:lvl5pPr marL="535781" indent="-128588" defTabSz="603647">
              <a:defRPr>
                <a:latin typeface="Arial" pitchFamily="34" charset="0"/>
              </a:defRPr>
            </a:lvl5pPr>
            <a:lvl6pPr marL="672704" indent="-134541">
              <a:tabLst/>
              <a:defRPr/>
            </a:lvl6pPr>
            <a:lvl7pPr marL="809625" indent="-135731">
              <a:tabLst/>
              <a:defRPr/>
            </a:lvl7pPr>
            <a:lvl8pPr marL="941785" indent="-132160">
              <a:buFont typeface="Symbol" pitchFamily="18" charset="2"/>
              <a:buChar char="-"/>
              <a:defRPr/>
            </a:lvl8pPr>
            <a:lvl9pPr marL="1073944" indent="-130969"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776800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79883" y="191126"/>
            <a:ext cx="6498236" cy="449704"/>
          </a:xfrm>
        </p:spPr>
        <p:txBody>
          <a:bodyPr anchor="t">
            <a:normAutofit/>
          </a:bodyPr>
          <a:lstStyle>
            <a:lvl1pPr algn="l">
              <a:defRPr sz="3000">
                <a:solidFill>
                  <a:srgbClr val="FE55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9883" y="1175657"/>
            <a:ext cx="8335468" cy="3457065"/>
          </a:xfrm>
        </p:spPr>
        <p:txBody>
          <a:bodyPr/>
          <a:lstStyle>
            <a:lvl1pPr>
              <a:defRPr>
                <a:solidFill>
                  <a:srgbClr val="404041"/>
                </a:solidFill>
              </a:defRPr>
            </a:lvl1pPr>
            <a:lvl2pPr>
              <a:defRPr>
                <a:solidFill>
                  <a:srgbClr val="404041"/>
                </a:solidFill>
              </a:defRPr>
            </a:lvl2pPr>
            <a:lvl3pPr>
              <a:defRPr>
                <a:solidFill>
                  <a:srgbClr val="404041"/>
                </a:solidFill>
              </a:defRPr>
            </a:lvl3pPr>
            <a:lvl4pPr>
              <a:defRPr>
                <a:solidFill>
                  <a:srgbClr val="404041"/>
                </a:solidFill>
              </a:defRPr>
            </a:lvl4pPr>
            <a:lvl5pPr>
              <a:defRPr>
                <a:solidFill>
                  <a:srgbClr val="40404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566555" y="4870934"/>
            <a:ext cx="4010891" cy="273844"/>
          </a:xfrm>
          <a:prstGeom prst="rect">
            <a:avLst/>
          </a:prstGeom>
        </p:spPr>
        <p:txBody>
          <a:bodyPr/>
          <a:lstStyle>
            <a:lvl1pPr>
              <a:defRPr sz="900"/>
            </a:lvl1pPr>
          </a:lstStyle>
          <a:p>
            <a:r>
              <a:rPr lang="en-US"/>
              <a:t>CONFIDENTIAL AND PROPRIETARY INFORMATION. © 2016 SOGETI USA LLC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0" y="4870934"/>
            <a:ext cx="364548" cy="273844"/>
          </a:xfrm>
          <a:prstGeom prst="rect">
            <a:avLst/>
          </a:prstGeom>
        </p:spPr>
        <p:txBody>
          <a:bodyPr anchor="ctr"/>
          <a:lstStyle>
            <a:lvl1pPr algn="ctr">
              <a:defRPr lang="en-US" sz="9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89B52C92-7CC8-4344-907B-65DD82B951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179882" y="642107"/>
            <a:ext cx="4552950" cy="236934"/>
          </a:xfrm>
        </p:spPr>
        <p:txBody>
          <a:bodyPr>
            <a:noAutofit/>
          </a:bodyPr>
          <a:lstStyle>
            <a:lvl1pPr marL="0" indent="0">
              <a:buNone/>
              <a:defRPr sz="1500" baseline="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add a little sub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06858" y="217757"/>
            <a:ext cx="1731575" cy="396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252526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4548" y="3526141"/>
            <a:ext cx="6739912" cy="442886"/>
          </a:xfrm>
        </p:spPr>
        <p:txBody>
          <a:bodyPr anchor="t">
            <a:noAutofit/>
          </a:bodyPr>
          <a:lstStyle>
            <a:lvl1pPr algn="l">
              <a:defRPr sz="30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948" y="3969026"/>
            <a:ext cx="6629277" cy="351126"/>
          </a:xfrm>
        </p:spPr>
        <p:txBody>
          <a:bodyPr>
            <a:noAutofit/>
          </a:bodyPr>
          <a:lstStyle>
            <a:lvl1pPr marL="0" indent="0">
              <a:buNone/>
              <a:defRPr sz="1350" baseline="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add a little subtitle</a:t>
            </a:r>
          </a:p>
        </p:txBody>
      </p:sp>
    </p:spTree>
    <p:extLst>
      <p:ext uri="{BB962C8B-B14F-4D97-AF65-F5344CB8AC3E}">
        <p14:creationId xmlns:p14="http://schemas.microsoft.com/office/powerpoint/2010/main" val="569786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8613"/>
            <a:ext cx="7772400" cy="11017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B65E5D28-DD98-4E91-9A47-5EF3E6FFCD68}" type="datetimeFigureOut">
              <a:rPr lang="en-US" smtClean="0"/>
              <a:pPr/>
              <a:t>10/12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26052222-04F8-4497-B1FA-DFBDD354FF49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B65E5D28-DD98-4E91-9A47-5EF3E6FFCD68}" type="datetimeFigureOut">
              <a:rPr lang="en-US" smtClean="0"/>
              <a:pPr/>
              <a:t>10/12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26052222-04F8-4497-B1FA-DFBDD354FF49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5"/>
            <a:ext cx="7772400" cy="1022350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79638"/>
            <a:ext cx="7772400" cy="112553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B65E5D28-DD98-4E91-9A47-5EF3E6FFCD68}" type="datetimeFigureOut">
              <a:rPr lang="en-US" smtClean="0"/>
              <a:pPr/>
              <a:t>10/12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26052222-04F8-4497-B1FA-DFBDD354FF49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0"/>
            <a:ext cx="4038600" cy="3394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0"/>
            <a:ext cx="4038600" cy="3394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B65E5D28-DD98-4E91-9A47-5EF3E6FFCD68}" type="datetimeFigureOut">
              <a:rPr lang="en-US" smtClean="0"/>
              <a:pPr/>
              <a:t>10/12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26052222-04F8-4497-B1FA-DFBDD354FF49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0938"/>
            <a:ext cx="4040188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950"/>
            <a:ext cx="4040188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150938"/>
            <a:ext cx="4041775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631950"/>
            <a:ext cx="4041775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B65E5D28-DD98-4E91-9A47-5EF3E6FFCD68}" type="datetimeFigureOut">
              <a:rPr lang="en-US" smtClean="0"/>
              <a:pPr/>
              <a:t>10/12/2017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26052222-04F8-4497-B1FA-DFBDD354FF49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B65E5D28-DD98-4E91-9A47-5EF3E6FFCD68}" type="datetimeFigureOut">
              <a:rPr lang="en-US" smtClean="0"/>
              <a:pPr/>
              <a:t>10/12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26052222-04F8-4497-B1FA-DFBDD354FF49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B65E5D28-DD98-4E91-9A47-5EF3E6FFCD68}" type="datetimeFigureOut">
              <a:rPr lang="en-US" smtClean="0"/>
              <a:pPr/>
              <a:t>10/12/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26052222-04F8-4497-B1FA-DFBDD354FF49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B65E5D28-DD98-4E91-9A47-5EF3E6FFCD68}" type="datetimeFigureOut">
              <a:rPr lang="en-US" smtClean="0"/>
              <a:pPr/>
              <a:t>10/12/2017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26052222-04F8-4497-B1FA-DFBDD354FF49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4788"/>
            <a:ext cx="3008313" cy="8715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4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076325"/>
            <a:ext cx="3008313" cy="35179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B65E5D28-DD98-4E91-9A47-5EF3E6FFCD68}" type="datetimeFigureOut">
              <a:rPr lang="en-US" smtClean="0"/>
              <a:pPr/>
              <a:t>10/12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26052222-04F8-4497-B1FA-DFBDD354FF49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4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60375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900"/>
            <a:ext cx="5486400" cy="6032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B65E5D28-DD98-4E91-9A47-5EF3E6FFCD68}" type="datetimeFigureOut">
              <a:rPr lang="en-US" smtClean="0"/>
              <a:pPr/>
              <a:t>10/12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26052222-04F8-4497-B1FA-DFBDD354FF49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B65E5D28-DD98-4E91-9A47-5EF3E6FFCD68}" type="datetimeFigureOut">
              <a:rPr lang="en-US" smtClean="0"/>
              <a:pPr/>
              <a:t>10/12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26052222-04F8-4497-B1FA-DFBDD354FF49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6375"/>
            <a:ext cx="2057400" cy="438785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6375"/>
            <a:ext cx="6019800" cy="438785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B65E5D28-DD98-4E91-9A47-5EF3E6FFCD68}" type="datetimeFigureOut">
              <a:rPr lang="en-US" smtClean="0"/>
              <a:pPr/>
              <a:t>10/12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26052222-04F8-4497-B1FA-DFBDD354FF49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5"/>
            <a:ext cx="7772400" cy="1022350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79638"/>
            <a:ext cx="7772400" cy="112553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B65E5D28-DD98-4E91-9A47-5EF3E6FFCD68}" type="datetimeFigureOut">
              <a:rPr lang="en-US" smtClean="0"/>
              <a:pPr/>
              <a:t>10/12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26052222-04F8-4497-B1FA-DFBDD354FF49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0"/>
            <a:ext cx="4038600" cy="3394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0"/>
            <a:ext cx="4038600" cy="3394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B65E5D28-DD98-4E91-9A47-5EF3E6FFCD68}" type="datetimeFigureOut">
              <a:rPr lang="en-US" smtClean="0"/>
              <a:pPr/>
              <a:t>10/12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26052222-04F8-4497-B1FA-DFBDD354FF49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0938"/>
            <a:ext cx="4040188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950"/>
            <a:ext cx="4040188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150938"/>
            <a:ext cx="4041775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631950"/>
            <a:ext cx="4041775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B65E5D28-DD98-4E91-9A47-5EF3E6FFCD68}" type="datetimeFigureOut">
              <a:rPr lang="en-US" smtClean="0"/>
              <a:pPr/>
              <a:t>10/12/2017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26052222-04F8-4497-B1FA-DFBDD354FF49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B65E5D28-DD98-4E91-9A47-5EF3E6FFCD68}" type="datetimeFigureOut">
              <a:rPr lang="en-US" smtClean="0"/>
              <a:pPr/>
              <a:t>10/12/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26052222-04F8-4497-B1FA-DFBDD354FF49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B65E5D28-DD98-4E91-9A47-5EF3E6FFCD68}" type="datetimeFigureOut">
              <a:rPr lang="en-US" smtClean="0"/>
              <a:pPr/>
              <a:t>10/12/2017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26052222-04F8-4497-B1FA-DFBDD354FF49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4788"/>
            <a:ext cx="3008313" cy="8715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4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076325"/>
            <a:ext cx="3008313" cy="35179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B65E5D28-DD98-4E91-9A47-5EF3E6FFCD68}" type="datetimeFigureOut">
              <a:rPr lang="en-US" smtClean="0"/>
              <a:pPr/>
              <a:t>10/12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26052222-04F8-4497-B1FA-DFBDD354FF49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4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60375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900"/>
            <a:ext cx="5486400" cy="6032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B65E5D28-DD98-4E91-9A47-5EF3E6FFCD68}" type="datetimeFigureOut">
              <a:rPr lang="en-US" smtClean="0"/>
              <a:pPr/>
              <a:t>10/12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26052222-04F8-4497-B1FA-DFBDD354FF49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image" Target="NUL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4000" y="34926"/>
            <a:ext cx="8432800" cy="4699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0"/>
            <a:ext cx="8229600" cy="33940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4933950"/>
            <a:ext cx="9144000" cy="2095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Date Placeholder 3"/>
          <p:cNvSpPr txBox="1">
            <a:spLocks/>
          </p:cNvSpPr>
          <p:nvPr userDrawn="1"/>
        </p:nvSpPr>
        <p:spPr>
          <a:xfrm>
            <a:off x="76200" y="4933950"/>
            <a:ext cx="2133600" cy="2095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bg1"/>
                </a:solidFill>
                <a:latin typeface="Source Sans Pro Light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A15DB39-BEA8-4810-B2CD-86D93ED56ED5}" type="slidenum">
              <a:rPr kumimoji="0" lang="en-US" sz="105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 Light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ource Sans Pro Light" pitchFamily="34" charset="0"/>
              <a:ea typeface="+mn-ea"/>
              <a:cs typeface="+mn-cs"/>
            </a:endParaRPr>
          </a:p>
        </p:txBody>
      </p:sp>
      <p:sp>
        <p:nvSpPr>
          <p:cNvPr id="10" name="Date Placeholder 3"/>
          <p:cNvSpPr txBox="1">
            <a:spLocks/>
          </p:cNvSpPr>
          <p:nvPr userDrawn="1"/>
        </p:nvSpPr>
        <p:spPr>
          <a:xfrm>
            <a:off x="6858000" y="4933950"/>
            <a:ext cx="2133600" cy="2095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bg1"/>
                </a:solidFill>
                <a:latin typeface="Source Sans Pro Light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 Light" pitchFamily="34" charset="0"/>
                <a:ea typeface="+mn-ea"/>
                <a:cs typeface="+mn-cs"/>
              </a:rPr>
              <a:t>us.sogeti.com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685" r:id="rId6"/>
    <p:sldLayoutId id="2147483686" r:id="rId7"/>
    <p:sldLayoutId id="2147483687" r:id="rId8"/>
    <p:sldLayoutId id="2147483688" r:id="rId9"/>
    <p:sldLayoutId id="2147483689" r:id="rId10"/>
    <p:sldLayoutId id="2147483690" r:id="rId11"/>
    <p:sldLayoutId id="2147483717" r:id="rId12"/>
    <p:sldLayoutId id="2147483723" r:id="rId13"/>
    <p:sldLayoutId id="2147483724" r:id="rId14"/>
  </p:sldLayoutIdLst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2"/>
          </a:solidFill>
          <a:latin typeface="Calibri Light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Calibri Light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Calibri Light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Calibri Light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Calibri Light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Calibri Light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4000" y="34926"/>
            <a:ext cx="8432800" cy="4699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0"/>
            <a:ext cx="8229600" cy="33940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4933950"/>
            <a:ext cx="9144000" cy="2095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Date Placeholder 3"/>
          <p:cNvSpPr txBox="1">
            <a:spLocks/>
          </p:cNvSpPr>
          <p:nvPr userDrawn="1"/>
        </p:nvSpPr>
        <p:spPr>
          <a:xfrm>
            <a:off x="76200" y="4933950"/>
            <a:ext cx="2133600" cy="2095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bg1"/>
                </a:solidFill>
                <a:latin typeface="Source Sans Pro Light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A15DB39-BEA8-4810-B2CD-86D93ED56ED5}" type="slidenum">
              <a:rPr kumimoji="0" lang="en-US" sz="105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 Light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ource Sans Pro Light" pitchFamily="34" charset="0"/>
              <a:ea typeface="+mn-ea"/>
              <a:cs typeface="+mn-cs"/>
            </a:endParaRPr>
          </a:p>
        </p:txBody>
      </p:sp>
      <p:sp>
        <p:nvSpPr>
          <p:cNvPr id="10" name="Date Placeholder 3"/>
          <p:cNvSpPr txBox="1">
            <a:spLocks/>
          </p:cNvSpPr>
          <p:nvPr userDrawn="1"/>
        </p:nvSpPr>
        <p:spPr>
          <a:xfrm>
            <a:off x="6858000" y="4933950"/>
            <a:ext cx="2133600" cy="2095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bg1"/>
                </a:solidFill>
                <a:latin typeface="Source Sans Pro Light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 Light" pitchFamily="34" charset="0"/>
                <a:ea typeface="+mn-ea"/>
                <a:cs typeface="+mn-cs"/>
              </a:rPr>
              <a:t>us.sogeti.com</a:t>
            </a:r>
          </a:p>
        </p:txBody>
      </p:sp>
      <p:grpSp>
        <p:nvGrpSpPr>
          <p:cNvPr id="8" name="Group 7"/>
          <p:cNvGrpSpPr/>
          <p:nvPr userDrawn="1"/>
        </p:nvGrpSpPr>
        <p:grpSpPr>
          <a:xfrm>
            <a:off x="7629178" y="4542620"/>
            <a:ext cx="1331029" cy="305605"/>
            <a:chOff x="1938326" y="3200400"/>
            <a:chExt cx="5153986" cy="1183358"/>
          </a:xfrm>
        </p:grpSpPr>
        <p:sp>
          <p:nvSpPr>
            <p:cNvPr id="12" name="Rectangle 11"/>
            <p:cNvSpPr/>
            <p:nvPr/>
          </p:nvSpPr>
          <p:spPr>
            <a:xfrm>
              <a:off x="1946787" y="3200400"/>
              <a:ext cx="5136593" cy="1165538"/>
            </a:xfrm>
            <a:prstGeom prst="rect">
              <a:avLst/>
            </a:prstGeom>
            <a:solidFill>
              <a:srgbClr val="FF401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13" name="Picture 12" descr="Sogeti Logo 2013-White Knockout.png"/>
            <p:cNvPicPr>
              <a:picLocks noChangeAspect="1"/>
            </p:cNvPicPr>
            <p:nvPr/>
          </p:nvPicPr>
          <p:blipFill>
            <a:blip r:embed="rId13" cstate="email"/>
            <a:stretch>
              <a:fillRect/>
            </a:stretch>
          </p:blipFill>
          <p:spPr>
            <a:xfrm>
              <a:off x="1938326" y="3202072"/>
              <a:ext cx="5153986" cy="1181686"/>
            </a:xfrm>
            <a:prstGeom prst="rect">
              <a:avLst/>
            </a:prstGeom>
          </p:spPr>
        </p:pic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09" r:id="rId5"/>
    <p:sldLayoutId id="2147483710" r:id="rId6"/>
    <p:sldLayoutId id="2147483711" r:id="rId7"/>
    <p:sldLayoutId id="2147483712" r:id="rId8"/>
    <p:sldLayoutId id="2147483713" r:id="rId9"/>
    <p:sldLayoutId id="2147483714" r:id="rId10"/>
    <p:sldLayoutId id="2147483715" r:id="rId11"/>
  </p:sldLayoutIdLst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2"/>
          </a:solidFill>
          <a:latin typeface="Calibri Light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Calibri Light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Calibri Light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Calibri Light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Calibri Light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Calibri Light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10" Type="http://schemas.openxmlformats.org/officeDocument/2006/relationships/image" Target="../media/image19.png"/><Relationship Id="rId4" Type="http://schemas.openxmlformats.org/officeDocument/2006/relationships/image" Target="../media/image13.png"/><Relationship Id="rId9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926" y="0"/>
            <a:ext cx="8444074" cy="4929510"/>
          </a:xfrm>
          <a:prstGeom prst="rect">
            <a:avLst/>
          </a:prstGeom>
        </p:spPr>
      </p:pic>
      <p:sp>
        <p:nvSpPr>
          <p:cNvPr id="7" name="Right Triangle 6"/>
          <p:cNvSpPr/>
          <p:nvPr/>
        </p:nvSpPr>
        <p:spPr>
          <a:xfrm rot="5400000">
            <a:off x="-512112" y="512113"/>
            <a:ext cx="5219699" cy="4195475"/>
          </a:xfrm>
          <a:prstGeom prst="rtTriangle">
            <a:avLst/>
          </a:prstGeom>
          <a:solidFill>
            <a:srgbClr val="FF4019">
              <a:alpha val="9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051920">
            <a:off x="-880927" y="-672296"/>
            <a:ext cx="3974523" cy="5143500"/>
          </a:xfrm>
          <a:prstGeom prst="rect">
            <a:avLst/>
          </a:prstGeom>
        </p:spPr>
      </p:pic>
      <p:sp>
        <p:nvSpPr>
          <p:cNvPr id="8" name="Right Triangle 7"/>
          <p:cNvSpPr/>
          <p:nvPr/>
        </p:nvSpPr>
        <p:spPr>
          <a:xfrm>
            <a:off x="0" y="3375395"/>
            <a:ext cx="5219699" cy="1844305"/>
          </a:xfrm>
          <a:prstGeom prst="rtTriangle">
            <a:avLst/>
          </a:prstGeom>
          <a:solidFill>
            <a:srgbClr val="FFC000">
              <a:alpha val="2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29D36FF2-8275-4960-BAC1-479F056B53E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06334" y="3457101"/>
            <a:ext cx="7661852" cy="1200251"/>
          </a:xfrm>
          <a:effectLst>
            <a:outerShdw blurRad="88900" dist="25400" dir="10800000" algn="r" rotWithShape="0">
              <a:prstClr val="black">
                <a:alpha val="43000"/>
              </a:prstClr>
            </a:outerShdw>
          </a:effectLst>
        </p:spPr>
        <p:txBody>
          <a:bodyPr/>
          <a:lstStyle/>
          <a:p>
            <a:pPr algn="ctr"/>
            <a:r>
              <a:rPr lang="en-US" sz="3600" dirty="0">
                <a:solidFill>
                  <a:schemeClr val="bg1"/>
                </a:solidFill>
                <a:effectLst>
                  <a:outerShdw blurRad="50800" dist="50800" dir="5400000" algn="ctr" rotWithShape="0">
                    <a:srgbClr val="000000">
                      <a:alpha val="89000"/>
                    </a:srgbClr>
                  </a:outerShdw>
                </a:effectLst>
              </a:rPr>
              <a:t>Schwan’s – Use Case – Manufacturing Analytics – Predict Plant Outage</a:t>
            </a:r>
          </a:p>
        </p:txBody>
      </p:sp>
    </p:spTree>
    <p:extLst>
      <p:ext uri="{BB962C8B-B14F-4D97-AF65-F5344CB8AC3E}">
        <p14:creationId xmlns:p14="http://schemas.microsoft.com/office/powerpoint/2010/main" val="102548353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0262" y="735981"/>
            <a:ext cx="8850141" cy="4034494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b="1" dirty="0">
                <a:solidFill>
                  <a:schemeClr val="tx2"/>
                </a:solidFill>
              </a:rPr>
              <a:t>Goal : </a:t>
            </a:r>
          </a:p>
          <a:p>
            <a:pPr marL="0" indent="0">
              <a:buNone/>
            </a:pPr>
            <a:r>
              <a:rPr lang="en-US" sz="1400" dirty="0"/>
              <a:t>Predict Manufacturing Plants Outage.</a:t>
            </a:r>
          </a:p>
          <a:p>
            <a:pPr marL="0" indent="0">
              <a:buNone/>
            </a:pPr>
            <a:r>
              <a:rPr lang="en-US" sz="2400" b="1" dirty="0">
                <a:solidFill>
                  <a:schemeClr val="tx2"/>
                </a:solidFill>
              </a:rPr>
              <a:t>Use Case :</a:t>
            </a:r>
          </a:p>
          <a:p>
            <a:r>
              <a:rPr lang="en-US" sz="1400" dirty="0"/>
              <a:t>During a workshop at client site a use case came up on top of the list. How to reduce or even predict Manufacturing plants outage hours or days in advance.</a:t>
            </a:r>
            <a:endParaRPr lang="en-US" sz="2000" dirty="0"/>
          </a:p>
          <a:p>
            <a:pPr marL="0" indent="0">
              <a:buNone/>
            </a:pPr>
            <a:r>
              <a:rPr lang="en-US" sz="2400" b="1" dirty="0">
                <a:solidFill>
                  <a:schemeClr val="tx2"/>
                </a:solidFill>
              </a:rPr>
              <a:t>Approach :</a:t>
            </a:r>
          </a:p>
          <a:p>
            <a:r>
              <a:rPr lang="en-US" sz="1300" dirty="0" err="1"/>
              <a:t>Sogeti</a:t>
            </a:r>
            <a:r>
              <a:rPr lang="en-US" sz="1300" dirty="0"/>
              <a:t> Team rolled the sleeves and developed a demonstration of state of the art.</a:t>
            </a:r>
          </a:p>
          <a:p>
            <a:r>
              <a:rPr lang="en-US" sz="1400" dirty="0"/>
              <a:t>This model comprises of another Manufacturing units dataset , sources are telemetry , machine failure , error logs , maintenance and machines configuration(age).</a:t>
            </a:r>
          </a:p>
          <a:p>
            <a:r>
              <a:rPr lang="en-US" sz="1400" dirty="0" err="1"/>
              <a:t>Sogeti</a:t>
            </a:r>
            <a:r>
              <a:rPr lang="en-US" sz="1400" dirty="0"/>
              <a:t> Team built a predictive model using this dataset , leveraging statistical techniques to identify the influence of certain errors, machine unique ID and machine components which are predicted to fail.</a:t>
            </a:r>
            <a:endParaRPr lang="en-US" sz="2400" dirty="0"/>
          </a:p>
          <a:p>
            <a:pPr marL="0" indent="0">
              <a:buNone/>
            </a:pPr>
            <a:endParaRPr lang="en-US" sz="1600" dirty="0"/>
          </a:p>
          <a:p>
            <a:endParaRPr lang="en-US" dirty="0"/>
          </a:p>
        </p:txBody>
      </p:sp>
      <p:cxnSp>
        <p:nvCxnSpPr>
          <p:cNvPr id="6" name="Straight Connector 5"/>
          <p:cNvCxnSpPr/>
          <p:nvPr/>
        </p:nvCxnSpPr>
        <p:spPr>
          <a:xfrm>
            <a:off x="257292" y="735980"/>
            <a:ext cx="8723112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1">
            <a:extLst>
              <a:ext uri="{FF2B5EF4-FFF2-40B4-BE49-F238E27FC236}">
                <a16:creationId xmlns:a16="http://schemas.microsoft.com/office/drawing/2014/main" id="{6AA07686-1680-45FB-A527-515511401E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844" y="136375"/>
            <a:ext cx="8664314" cy="599605"/>
          </a:xfrm>
        </p:spPr>
        <p:txBody>
          <a:bodyPr>
            <a:noAutofit/>
          </a:bodyPr>
          <a:lstStyle/>
          <a:p>
            <a:r>
              <a:rPr lang="en-US" b="1" dirty="0"/>
              <a:t>Predict Plants Outage :</a:t>
            </a:r>
          </a:p>
        </p:txBody>
      </p:sp>
    </p:spTree>
    <p:extLst>
      <p:ext uri="{BB962C8B-B14F-4D97-AF65-F5344CB8AC3E}">
        <p14:creationId xmlns:p14="http://schemas.microsoft.com/office/powerpoint/2010/main" val="32100168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0263" y="735981"/>
            <a:ext cx="8702064" cy="4034494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b="1" dirty="0">
              <a:solidFill>
                <a:schemeClr val="tx2"/>
              </a:solidFill>
            </a:endParaRPr>
          </a:p>
          <a:p>
            <a:pPr marL="0" indent="0">
              <a:buNone/>
            </a:pPr>
            <a:endParaRPr lang="en-US" b="1" dirty="0">
              <a:solidFill>
                <a:schemeClr val="tx2"/>
              </a:solidFill>
            </a:endParaRPr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endParaRPr lang="en-US" sz="1600" dirty="0"/>
          </a:p>
          <a:p>
            <a:endParaRPr lang="en-US" dirty="0"/>
          </a:p>
        </p:txBody>
      </p:sp>
      <p:cxnSp>
        <p:nvCxnSpPr>
          <p:cNvPr id="6" name="Straight Connector 5"/>
          <p:cNvCxnSpPr/>
          <p:nvPr/>
        </p:nvCxnSpPr>
        <p:spPr>
          <a:xfrm>
            <a:off x="257292" y="735980"/>
            <a:ext cx="8723112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1">
            <a:extLst>
              <a:ext uri="{FF2B5EF4-FFF2-40B4-BE49-F238E27FC236}">
                <a16:creationId xmlns:a16="http://schemas.microsoft.com/office/drawing/2014/main" id="{6AA07686-1680-45FB-A527-515511401E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844" y="136375"/>
            <a:ext cx="8664314" cy="599605"/>
          </a:xfrm>
        </p:spPr>
        <p:txBody>
          <a:bodyPr>
            <a:noAutofit/>
          </a:bodyPr>
          <a:lstStyle/>
          <a:p>
            <a:r>
              <a:rPr lang="en-US" b="1" dirty="0"/>
              <a:t>Architecture Built : 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9369119-067C-42C6-967D-20799FBC4AD4}"/>
              </a:ext>
            </a:extLst>
          </p:cNvPr>
          <p:cNvSpPr/>
          <p:nvPr/>
        </p:nvSpPr>
        <p:spPr>
          <a:xfrm>
            <a:off x="2221081" y="1278261"/>
            <a:ext cx="1213092" cy="2709347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94032EA-CCAA-49B7-965C-89F4CD890245}"/>
              </a:ext>
            </a:extLst>
          </p:cNvPr>
          <p:cNvSpPr/>
          <p:nvPr/>
        </p:nvSpPr>
        <p:spPr>
          <a:xfrm>
            <a:off x="5677990" y="3293994"/>
            <a:ext cx="1004612" cy="95282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EE63633-444C-41EE-AE63-DE7A2178BC6A}"/>
              </a:ext>
            </a:extLst>
          </p:cNvPr>
          <p:cNvSpPr/>
          <p:nvPr/>
        </p:nvSpPr>
        <p:spPr>
          <a:xfrm>
            <a:off x="4033550" y="1278261"/>
            <a:ext cx="935665" cy="298420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E090E3E8-196E-4819-A8AC-01F426B6BF4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23803" y="2239837"/>
            <a:ext cx="780284" cy="780284"/>
          </a:xfrm>
          <a:prstGeom prst="rect">
            <a:avLst/>
          </a:prstGeom>
        </p:spPr>
      </p:pic>
      <p:sp>
        <p:nvSpPr>
          <p:cNvPr id="21" name="Speech Bubble: Rectangle with Corners Rounded 20">
            <a:extLst>
              <a:ext uri="{FF2B5EF4-FFF2-40B4-BE49-F238E27FC236}">
                <a16:creationId xmlns:a16="http://schemas.microsoft.com/office/drawing/2014/main" id="{EFED63D6-C126-48BB-9F1F-F3061E34EBED}"/>
              </a:ext>
            </a:extLst>
          </p:cNvPr>
          <p:cNvSpPr/>
          <p:nvPr/>
        </p:nvSpPr>
        <p:spPr>
          <a:xfrm>
            <a:off x="279568" y="1691954"/>
            <a:ext cx="1213494" cy="1124640"/>
          </a:xfrm>
          <a:prstGeom prst="wedgeRoundRectCallout">
            <a:avLst>
              <a:gd name="adj1" fmla="val 16071"/>
              <a:gd name="adj2" fmla="val 49042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OEM Automated Data Capture Software(s) e.g. ROCKWELL,REDZONE,TRIHEDRAL,WONDERWARE </a:t>
            </a:r>
            <a:r>
              <a:rPr lang="en-US" sz="1000" dirty="0" err="1">
                <a:solidFill>
                  <a:schemeClr val="tx1"/>
                </a:solidFill>
              </a:rPr>
              <a:t>e.t.c</a:t>
            </a:r>
            <a:r>
              <a:rPr lang="en-US" sz="10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ED3994-A291-44D5-8107-CBAB1876510E}"/>
              </a:ext>
            </a:extLst>
          </p:cNvPr>
          <p:cNvSpPr/>
          <p:nvPr/>
        </p:nvSpPr>
        <p:spPr>
          <a:xfrm>
            <a:off x="3500386" y="4308064"/>
            <a:ext cx="1823216" cy="3615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u="sng" dirty="0">
                <a:solidFill>
                  <a:schemeClr val="tx1"/>
                </a:solidFill>
              </a:rPr>
              <a:t>Machine Learning Model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08CBE07-26B1-4298-95AE-64235E29024F}"/>
              </a:ext>
            </a:extLst>
          </p:cNvPr>
          <p:cNvSpPr/>
          <p:nvPr/>
        </p:nvSpPr>
        <p:spPr>
          <a:xfrm>
            <a:off x="5554768" y="4379142"/>
            <a:ext cx="1823216" cy="3615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u="sng" dirty="0">
                <a:solidFill>
                  <a:schemeClr val="tx1"/>
                </a:solidFill>
              </a:rPr>
              <a:t>Predictive Model hosting on Azure Cloud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1171C9B-8759-492C-ADCB-AD96ABDD28A8}"/>
              </a:ext>
            </a:extLst>
          </p:cNvPr>
          <p:cNvSpPr/>
          <p:nvPr/>
        </p:nvSpPr>
        <p:spPr>
          <a:xfrm>
            <a:off x="2118026" y="4408968"/>
            <a:ext cx="1405051" cy="3615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u="sng" dirty="0">
                <a:solidFill>
                  <a:schemeClr val="tx1"/>
                </a:solidFill>
              </a:rPr>
              <a:t>Nature of Data</a:t>
            </a:r>
          </a:p>
          <a:p>
            <a:pPr algn="ctr"/>
            <a:endParaRPr lang="en-US" sz="1200" b="1" u="sng" dirty="0">
              <a:solidFill>
                <a:schemeClr val="tx1"/>
              </a:solidFill>
            </a:endParaRPr>
          </a:p>
        </p:txBody>
      </p:sp>
      <p:sp>
        <p:nvSpPr>
          <p:cNvPr id="31" name="Speech Bubble: Rectangle with Corners Rounded 30">
            <a:extLst>
              <a:ext uri="{FF2B5EF4-FFF2-40B4-BE49-F238E27FC236}">
                <a16:creationId xmlns:a16="http://schemas.microsoft.com/office/drawing/2014/main" id="{09601A5C-DDAA-4357-B717-76B064922B33}"/>
              </a:ext>
            </a:extLst>
          </p:cNvPr>
          <p:cNvSpPr/>
          <p:nvPr/>
        </p:nvSpPr>
        <p:spPr>
          <a:xfrm>
            <a:off x="279568" y="3150034"/>
            <a:ext cx="1213494" cy="477901"/>
          </a:xfrm>
          <a:prstGeom prst="wedgeRoundRectCallout">
            <a:avLst>
              <a:gd name="adj1" fmla="val 16071"/>
              <a:gd name="adj2" fmla="val 49042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Receives health score</a:t>
            </a:r>
          </a:p>
        </p:txBody>
      </p:sp>
      <p:sp>
        <p:nvSpPr>
          <p:cNvPr id="32" name="Arrow: Right 31">
            <a:extLst>
              <a:ext uri="{FF2B5EF4-FFF2-40B4-BE49-F238E27FC236}">
                <a16:creationId xmlns:a16="http://schemas.microsoft.com/office/drawing/2014/main" id="{E358AFB3-FAA8-4D86-B020-C1BB2B413FD3}"/>
              </a:ext>
            </a:extLst>
          </p:cNvPr>
          <p:cNvSpPr/>
          <p:nvPr/>
        </p:nvSpPr>
        <p:spPr>
          <a:xfrm rot="1288345">
            <a:off x="1542400" y="2382316"/>
            <a:ext cx="443678" cy="283792"/>
          </a:xfrm>
          <a:prstGeom prst="right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Arrow: Left 32">
            <a:extLst>
              <a:ext uri="{FF2B5EF4-FFF2-40B4-BE49-F238E27FC236}">
                <a16:creationId xmlns:a16="http://schemas.microsoft.com/office/drawing/2014/main" id="{3236FFF7-50FA-4F85-BB8E-ECB45EA81D45}"/>
              </a:ext>
            </a:extLst>
          </p:cNvPr>
          <p:cNvSpPr/>
          <p:nvPr/>
        </p:nvSpPr>
        <p:spPr>
          <a:xfrm rot="9568829">
            <a:off x="1522340" y="2998257"/>
            <a:ext cx="443678" cy="280160"/>
          </a:xfrm>
          <a:prstGeom prst="left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AD227279-F27F-4F90-B273-BD92806E5645}"/>
              </a:ext>
            </a:extLst>
          </p:cNvPr>
          <p:cNvSpPr/>
          <p:nvPr/>
        </p:nvSpPr>
        <p:spPr>
          <a:xfrm>
            <a:off x="130263" y="935666"/>
            <a:ext cx="8773894" cy="3884428"/>
          </a:xfrm>
          <a:prstGeom prst="rect">
            <a:avLst/>
          </a:prstGeom>
          <a:noFill/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 descr="Screen Clippi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1268" y="3123602"/>
            <a:ext cx="1244589" cy="523836"/>
          </a:xfrm>
          <a:prstGeom prst="rect">
            <a:avLst/>
          </a:prstGeom>
        </p:spPr>
      </p:pic>
      <p:sp>
        <p:nvSpPr>
          <p:cNvPr id="30" name="TextBox 29"/>
          <p:cNvSpPr txBox="1"/>
          <p:nvPr/>
        </p:nvSpPr>
        <p:spPr>
          <a:xfrm>
            <a:off x="2208286" y="1884735"/>
            <a:ext cx="1213088" cy="461665"/>
          </a:xfrm>
          <a:prstGeom prst="rect">
            <a:avLst/>
          </a:prstGeom>
          <a:noFill/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/>
              <a:t>Maintenance</a:t>
            </a:r>
          </a:p>
          <a:p>
            <a:pPr algn="ctr"/>
            <a:endParaRPr lang="en-US" sz="1200" b="1" dirty="0"/>
          </a:p>
        </p:txBody>
      </p:sp>
      <p:sp>
        <p:nvSpPr>
          <p:cNvPr id="39" name="TextBox 38"/>
          <p:cNvSpPr txBox="1"/>
          <p:nvPr/>
        </p:nvSpPr>
        <p:spPr>
          <a:xfrm>
            <a:off x="2215358" y="1367776"/>
            <a:ext cx="1218815" cy="461665"/>
          </a:xfrm>
          <a:prstGeom prst="rect">
            <a:avLst/>
          </a:prstGeom>
          <a:noFill/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/>
              <a:t>Telemetry</a:t>
            </a:r>
          </a:p>
          <a:p>
            <a:pPr algn="ctr"/>
            <a:endParaRPr lang="en-US" sz="1200" b="1" dirty="0"/>
          </a:p>
        </p:txBody>
      </p:sp>
      <p:sp>
        <p:nvSpPr>
          <p:cNvPr id="40" name="TextBox 39"/>
          <p:cNvSpPr txBox="1"/>
          <p:nvPr/>
        </p:nvSpPr>
        <p:spPr>
          <a:xfrm>
            <a:off x="2226803" y="2391719"/>
            <a:ext cx="1187499" cy="461665"/>
          </a:xfrm>
          <a:prstGeom prst="rect">
            <a:avLst/>
          </a:prstGeom>
          <a:noFill/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/>
              <a:t>Machine Failures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2233876" y="2904519"/>
            <a:ext cx="1187499" cy="461665"/>
          </a:xfrm>
          <a:prstGeom prst="rect">
            <a:avLst/>
          </a:prstGeom>
          <a:noFill/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/>
              <a:t>Error Logs </a:t>
            </a:r>
          </a:p>
          <a:p>
            <a:pPr algn="ctr"/>
            <a:endParaRPr lang="en-US" sz="1200" b="1" dirty="0"/>
          </a:p>
        </p:txBody>
      </p:sp>
      <p:sp>
        <p:nvSpPr>
          <p:cNvPr id="42" name="TextBox 41"/>
          <p:cNvSpPr txBox="1"/>
          <p:nvPr/>
        </p:nvSpPr>
        <p:spPr>
          <a:xfrm>
            <a:off x="2233875" y="3417319"/>
            <a:ext cx="1187499" cy="461665"/>
          </a:xfrm>
          <a:prstGeom prst="rect">
            <a:avLst/>
          </a:prstGeom>
          <a:noFill/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/>
              <a:t>Machine Configuration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11171C9B-8759-492C-ADCB-AD96ABDD28A8}"/>
              </a:ext>
            </a:extLst>
          </p:cNvPr>
          <p:cNvSpPr/>
          <p:nvPr/>
        </p:nvSpPr>
        <p:spPr>
          <a:xfrm>
            <a:off x="422409" y="4323685"/>
            <a:ext cx="1114015" cy="3615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 u="sng" dirty="0">
              <a:solidFill>
                <a:schemeClr val="tx1"/>
              </a:solidFill>
            </a:endParaRPr>
          </a:p>
          <a:p>
            <a:pPr algn="ctr"/>
            <a:r>
              <a:rPr lang="en-US" sz="1200" b="1" u="sng" dirty="0">
                <a:solidFill>
                  <a:schemeClr val="tx1"/>
                </a:solidFill>
              </a:rPr>
              <a:t>Data Source </a:t>
            </a:r>
          </a:p>
          <a:p>
            <a:pPr algn="ctr"/>
            <a:endParaRPr lang="en-US" sz="1200" b="1" u="sng" dirty="0">
              <a:solidFill>
                <a:schemeClr val="tx1"/>
              </a:solidFill>
            </a:endParaRPr>
          </a:p>
        </p:txBody>
      </p:sp>
      <p:sp>
        <p:nvSpPr>
          <p:cNvPr id="44" name="Arrow: Left-Right 18">
            <a:extLst>
              <a:ext uri="{FF2B5EF4-FFF2-40B4-BE49-F238E27FC236}">
                <a16:creationId xmlns:a16="http://schemas.microsoft.com/office/drawing/2014/main" id="{2AA4B2FE-E916-41AB-B654-98C15A50E7E1}"/>
              </a:ext>
            </a:extLst>
          </p:cNvPr>
          <p:cNvSpPr/>
          <p:nvPr/>
        </p:nvSpPr>
        <p:spPr>
          <a:xfrm>
            <a:off x="4969216" y="3493778"/>
            <a:ext cx="708773" cy="325636"/>
          </a:xfrm>
          <a:prstGeom prst="leftRight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Arrow: Left 32">
            <a:extLst>
              <a:ext uri="{FF2B5EF4-FFF2-40B4-BE49-F238E27FC236}">
                <a16:creationId xmlns:a16="http://schemas.microsoft.com/office/drawing/2014/main" id="{3236FFF7-50FA-4F85-BB8E-ECB45EA81D45}"/>
              </a:ext>
            </a:extLst>
          </p:cNvPr>
          <p:cNvSpPr/>
          <p:nvPr/>
        </p:nvSpPr>
        <p:spPr>
          <a:xfrm rot="10800000">
            <a:off x="4991743" y="2233793"/>
            <a:ext cx="686246" cy="308923"/>
          </a:xfrm>
          <a:prstGeom prst="left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92158" y="3336753"/>
            <a:ext cx="976275" cy="881560"/>
          </a:xfrm>
          <a:prstGeom prst="rect">
            <a:avLst/>
          </a:prstGeom>
        </p:spPr>
      </p:pic>
      <p:sp>
        <p:nvSpPr>
          <p:cNvPr id="46" name="Arrow: Left 32">
            <a:extLst>
              <a:ext uri="{FF2B5EF4-FFF2-40B4-BE49-F238E27FC236}">
                <a16:creationId xmlns:a16="http://schemas.microsoft.com/office/drawing/2014/main" id="{3236FFF7-50FA-4F85-BB8E-ECB45EA81D45}"/>
              </a:ext>
            </a:extLst>
          </p:cNvPr>
          <p:cNvSpPr/>
          <p:nvPr/>
        </p:nvSpPr>
        <p:spPr>
          <a:xfrm rot="10800000">
            <a:off x="3434174" y="2605695"/>
            <a:ext cx="586579" cy="298823"/>
          </a:xfrm>
          <a:prstGeom prst="left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7EE63633-444C-41EE-AE63-DE7A2178BC6A}"/>
              </a:ext>
            </a:extLst>
          </p:cNvPr>
          <p:cNvSpPr/>
          <p:nvPr/>
        </p:nvSpPr>
        <p:spPr>
          <a:xfrm>
            <a:off x="5677990" y="1278262"/>
            <a:ext cx="2389186" cy="1640372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/>
          <p:cNvSpPr txBox="1"/>
          <p:nvPr/>
        </p:nvSpPr>
        <p:spPr>
          <a:xfrm>
            <a:off x="5677989" y="1639446"/>
            <a:ext cx="238918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Predictions on – 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en-US" sz="1000" dirty="0"/>
              <a:t>Relative Influence on Machine outage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en-US" sz="1000" dirty="0"/>
              <a:t>Component(s) causing failure 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en-US" sz="1000" dirty="0"/>
              <a:t>Voltage , model and age leading failure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en-US" sz="1000" dirty="0"/>
              <a:t>Certain errors in given plant and/or machine </a:t>
            </a:r>
          </a:p>
        </p:txBody>
      </p:sp>
    </p:spTree>
    <p:extLst>
      <p:ext uri="{BB962C8B-B14F-4D97-AF65-F5344CB8AC3E}">
        <p14:creationId xmlns:p14="http://schemas.microsoft.com/office/powerpoint/2010/main" val="399632644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0263" y="735981"/>
            <a:ext cx="8702064" cy="4034494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b="1" dirty="0">
              <a:solidFill>
                <a:schemeClr val="tx2"/>
              </a:solidFill>
            </a:endParaRPr>
          </a:p>
          <a:p>
            <a:pPr marL="0" indent="0">
              <a:buNone/>
            </a:pPr>
            <a:endParaRPr lang="en-US" b="1" dirty="0">
              <a:solidFill>
                <a:schemeClr val="tx2"/>
              </a:solidFill>
            </a:endParaRPr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endParaRPr lang="en-US" sz="1600" dirty="0"/>
          </a:p>
          <a:p>
            <a:endParaRPr lang="en-US" dirty="0"/>
          </a:p>
        </p:txBody>
      </p:sp>
      <p:cxnSp>
        <p:nvCxnSpPr>
          <p:cNvPr id="6" name="Straight Connector 5"/>
          <p:cNvCxnSpPr/>
          <p:nvPr/>
        </p:nvCxnSpPr>
        <p:spPr>
          <a:xfrm>
            <a:off x="257292" y="735980"/>
            <a:ext cx="8723112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1">
            <a:extLst>
              <a:ext uri="{FF2B5EF4-FFF2-40B4-BE49-F238E27FC236}">
                <a16:creationId xmlns:a16="http://schemas.microsoft.com/office/drawing/2014/main" id="{6AA07686-1680-45FB-A527-515511401E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844" y="136375"/>
            <a:ext cx="8664314" cy="599605"/>
          </a:xfrm>
        </p:spPr>
        <p:txBody>
          <a:bodyPr>
            <a:noAutofit/>
          </a:bodyPr>
          <a:lstStyle/>
          <a:p>
            <a:r>
              <a:rPr lang="en-US" b="1" dirty="0"/>
              <a:t>Dataset View: 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9369119-067C-42C6-967D-20799FBC4AD4}"/>
              </a:ext>
            </a:extLst>
          </p:cNvPr>
          <p:cNvSpPr/>
          <p:nvPr/>
        </p:nvSpPr>
        <p:spPr>
          <a:xfrm>
            <a:off x="666401" y="1369392"/>
            <a:ext cx="1187498" cy="2791369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08CBE07-26B1-4298-95AE-64235E29024F}"/>
              </a:ext>
            </a:extLst>
          </p:cNvPr>
          <p:cNvSpPr/>
          <p:nvPr/>
        </p:nvSpPr>
        <p:spPr>
          <a:xfrm>
            <a:off x="5128891" y="2800695"/>
            <a:ext cx="3279463" cy="13445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 u="sng" dirty="0">
              <a:solidFill>
                <a:schemeClr val="tx1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1171C9B-8759-492C-ADCB-AD96ABDD28A8}"/>
              </a:ext>
            </a:extLst>
          </p:cNvPr>
          <p:cNvSpPr/>
          <p:nvPr/>
        </p:nvSpPr>
        <p:spPr>
          <a:xfrm>
            <a:off x="568058" y="4360446"/>
            <a:ext cx="1405051" cy="3615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u="sng" dirty="0">
                <a:solidFill>
                  <a:schemeClr val="tx1"/>
                </a:solidFill>
              </a:rPr>
              <a:t>Data Source</a:t>
            </a:r>
          </a:p>
          <a:p>
            <a:pPr algn="ctr"/>
            <a:endParaRPr lang="en-US" sz="1200" b="1" u="sng" dirty="0">
              <a:solidFill>
                <a:schemeClr val="tx1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AD227279-F27F-4F90-B273-BD92806E5645}"/>
              </a:ext>
            </a:extLst>
          </p:cNvPr>
          <p:cNvSpPr/>
          <p:nvPr/>
        </p:nvSpPr>
        <p:spPr>
          <a:xfrm>
            <a:off x="130263" y="935666"/>
            <a:ext cx="8773894" cy="3884428"/>
          </a:xfrm>
          <a:prstGeom prst="rect">
            <a:avLst/>
          </a:prstGeom>
          <a:noFill/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9"/>
          <p:cNvSpPr txBox="1"/>
          <p:nvPr/>
        </p:nvSpPr>
        <p:spPr>
          <a:xfrm>
            <a:off x="652231" y="1885984"/>
            <a:ext cx="1187499" cy="646331"/>
          </a:xfrm>
          <a:prstGeom prst="rect">
            <a:avLst/>
          </a:prstGeom>
          <a:noFill/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/>
              <a:t>Maintenance</a:t>
            </a:r>
          </a:p>
          <a:p>
            <a:pPr algn="ctr"/>
            <a:endParaRPr lang="en-US" sz="1200" b="1" dirty="0"/>
          </a:p>
          <a:p>
            <a:pPr algn="ctr"/>
            <a:endParaRPr lang="en-US" sz="1200" b="1" dirty="0"/>
          </a:p>
        </p:txBody>
      </p:sp>
      <p:sp>
        <p:nvSpPr>
          <p:cNvPr id="39" name="TextBox 38"/>
          <p:cNvSpPr txBox="1"/>
          <p:nvPr/>
        </p:nvSpPr>
        <p:spPr>
          <a:xfrm>
            <a:off x="676835" y="1369393"/>
            <a:ext cx="1187499" cy="461665"/>
          </a:xfrm>
          <a:prstGeom prst="rect">
            <a:avLst/>
          </a:prstGeom>
          <a:noFill/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/>
              <a:t>Telemetry</a:t>
            </a:r>
          </a:p>
          <a:p>
            <a:pPr algn="ctr"/>
            <a:endParaRPr lang="en-US" sz="1200" b="1" dirty="0"/>
          </a:p>
        </p:txBody>
      </p:sp>
      <p:sp>
        <p:nvSpPr>
          <p:cNvPr id="40" name="TextBox 39"/>
          <p:cNvSpPr txBox="1"/>
          <p:nvPr/>
        </p:nvSpPr>
        <p:spPr>
          <a:xfrm>
            <a:off x="666400" y="2455976"/>
            <a:ext cx="1187499" cy="646331"/>
          </a:xfrm>
          <a:prstGeom prst="rect">
            <a:avLst/>
          </a:prstGeom>
          <a:noFill/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/>
              <a:t>Machine Failures</a:t>
            </a:r>
          </a:p>
          <a:p>
            <a:pPr algn="ctr"/>
            <a:endParaRPr lang="en-US" sz="1200" b="1" dirty="0"/>
          </a:p>
        </p:txBody>
      </p:sp>
      <p:sp>
        <p:nvSpPr>
          <p:cNvPr id="41" name="TextBox 40"/>
          <p:cNvSpPr txBox="1"/>
          <p:nvPr/>
        </p:nvSpPr>
        <p:spPr>
          <a:xfrm>
            <a:off x="652231" y="3028201"/>
            <a:ext cx="1187499" cy="646331"/>
          </a:xfrm>
          <a:prstGeom prst="rect">
            <a:avLst/>
          </a:prstGeom>
          <a:noFill/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/>
              <a:t>Error Logs</a:t>
            </a:r>
          </a:p>
          <a:p>
            <a:pPr algn="ctr"/>
            <a:r>
              <a:rPr lang="en-US" sz="1200" b="1" dirty="0"/>
              <a:t> </a:t>
            </a:r>
          </a:p>
          <a:p>
            <a:pPr algn="ctr"/>
            <a:endParaRPr lang="en-US" sz="1200" b="1" dirty="0"/>
          </a:p>
        </p:txBody>
      </p:sp>
      <p:sp>
        <p:nvSpPr>
          <p:cNvPr id="42" name="TextBox 41"/>
          <p:cNvSpPr txBox="1"/>
          <p:nvPr/>
        </p:nvSpPr>
        <p:spPr>
          <a:xfrm>
            <a:off x="652231" y="3628930"/>
            <a:ext cx="1187499" cy="461665"/>
          </a:xfrm>
          <a:prstGeom prst="rect">
            <a:avLst/>
          </a:prstGeom>
          <a:noFill/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/>
              <a:t>Machine Configuration</a:t>
            </a:r>
          </a:p>
        </p:txBody>
      </p:sp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76942935"/>
              </p:ext>
            </p:extLst>
          </p:nvPr>
        </p:nvGraphicFramePr>
        <p:xfrm>
          <a:off x="1934117" y="1359267"/>
          <a:ext cx="5812589" cy="521970"/>
        </p:xfrm>
        <a:graphic>
          <a:graphicData uri="http://schemas.openxmlformats.org/drawingml/2006/table">
            <a:tbl>
              <a:tblPr/>
              <a:tblGrid>
                <a:gridCol w="124970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8469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4454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4454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4454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4454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13410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etime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chineID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t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tate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essure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ibration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3410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/1/2015 6:00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6.217853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8.5040782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.077935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.08768576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3872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/1/2015 7:00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2.8792229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2.7474896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.46052538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.41397268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52853918"/>
              </p:ext>
            </p:extLst>
          </p:nvPr>
        </p:nvGraphicFramePr>
        <p:xfrm>
          <a:off x="1934116" y="1891768"/>
          <a:ext cx="2981642" cy="555799"/>
        </p:xfrm>
        <a:graphic>
          <a:graphicData uri="http://schemas.openxmlformats.org/drawingml/2006/table">
            <a:tbl>
              <a:tblPr/>
              <a:tblGrid>
                <a:gridCol w="125597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768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4877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8316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etime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chineID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316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/1/2014 6:00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2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947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/16/2014 6:00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4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6" name="Table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96148655"/>
              </p:ext>
            </p:extLst>
          </p:nvPr>
        </p:nvGraphicFramePr>
        <p:xfrm>
          <a:off x="1934116" y="2460101"/>
          <a:ext cx="2981643" cy="558800"/>
        </p:xfrm>
        <a:graphic>
          <a:graphicData uri="http://schemas.openxmlformats.org/drawingml/2006/table">
            <a:tbl>
              <a:tblPr/>
              <a:tblGrid>
                <a:gridCol w="125597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7002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5565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8415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etime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chineID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ilure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/5/2015 6:00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4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/6/2015 6:00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7" name="Table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92071601"/>
              </p:ext>
            </p:extLst>
          </p:nvPr>
        </p:nvGraphicFramePr>
        <p:xfrm>
          <a:off x="1934116" y="3026431"/>
          <a:ext cx="2981642" cy="552450"/>
        </p:xfrm>
        <a:graphic>
          <a:graphicData uri="http://schemas.openxmlformats.org/drawingml/2006/table">
            <a:tbl>
              <a:tblPr/>
              <a:tblGrid>
                <a:gridCol w="126972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5627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556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8415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etime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chineID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rrorID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/3/2015 7:00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rror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/3/2015 20:00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rror3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8" name="Table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21367890"/>
              </p:ext>
            </p:extLst>
          </p:nvPr>
        </p:nvGraphicFramePr>
        <p:xfrm>
          <a:off x="1934116" y="3586411"/>
          <a:ext cx="2981642" cy="558800"/>
        </p:xfrm>
        <a:graphic>
          <a:graphicData uri="http://schemas.openxmlformats.org/drawingml/2006/table">
            <a:tbl>
              <a:tblPr/>
              <a:tblGrid>
                <a:gridCol w="127659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4939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556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8415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chineID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del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ge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del3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del4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9" name="TextBox 18"/>
          <p:cNvSpPr txBox="1"/>
          <p:nvPr/>
        </p:nvSpPr>
        <p:spPr>
          <a:xfrm>
            <a:off x="5128890" y="2889701"/>
            <a:ext cx="3403218" cy="646331"/>
          </a:xfrm>
          <a:prstGeom prst="rect">
            <a:avLst/>
          </a:prstGeom>
          <a:noFill/>
          <a:ln>
            <a:solidFill>
              <a:srgbClr val="302B20"/>
            </a:solidFill>
          </a:ln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Components are categorized comp1 to comp5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Models are categorized as model1 to model5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Machines are given unique ID 1 to 100</a:t>
            </a:r>
          </a:p>
        </p:txBody>
      </p:sp>
    </p:spTree>
    <p:extLst>
      <p:ext uri="{BB962C8B-B14F-4D97-AF65-F5344CB8AC3E}">
        <p14:creationId xmlns:p14="http://schemas.microsoft.com/office/powerpoint/2010/main" val="280435545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AND PROPRIETARY INFORMATION. © 2016 SOGETI USA LLC</a:t>
            </a:r>
            <a:endParaRPr lang="en-US" dirty="0"/>
          </a:p>
        </p:txBody>
      </p:sp>
      <p:cxnSp>
        <p:nvCxnSpPr>
          <p:cNvPr id="6" name="Straight Connector 5"/>
          <p:cNvCxnSpPr/>
          <p:nvPr/>
        </p:nvCxnSpPr>
        <p:spPr>
          <a:xfrm>
            <a:off x="257292" y="735980"/>
            <a:ext cx="8723112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1">
            <a:extLst>
              <a:ext uri="{FF2B5EF4-FFF2-40B4-BE49-F238E27FC236}">
                <a16:creationId xmlns:a16="http://schemas.microsoft.com/office/drawing/2014/main" id="{6AA07686-1680-45FB-A527-515511401E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843" y="136374"/>
            <a:ext cx="8664314" cy="599605"/>
          </a:xfrm>
        </p:spPr>
        <p:txBody>
          <a:bodyPr>
            <a:noAutofit/>
          </a:bodyPr>
          <a:lstStyle/>
          <a:p>
            <a:r>
              <a:rPr lang="en-US" b="1" dirty="0"/>
              <a:t>Explorations on Dataset: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0107" y="899698"/>
            <a:ext cx="3692097" cy="1937574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7292" y="2769641"/>
            <a:ext cx="3537812" cy="197635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63386" y="860917"/>
            <a:ext cx="4031839" cy="1891859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87610" y="2769640"/>
            <a:ext cx="3664476" cy="1976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579149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AND PROPRIETARY INFORMATION. © 2016 SOGETI USA LLC</a:t>
            </a:r>
            <a:endParaRPr lang="en-US" dirty="0"/>
          </a:p>
        </p:txBody>
      </p:sp>
      <p:cxnSp>
        <p:nvCxnSpPr>
          <p:cNvPr id="6" name="Straight Connector 5"/>
          <p:cNvCxnSpPr/>
          <p:nvPr/>
        </p:nvCxnSpPr>
        <p:spPr>
          <a:xfrm>
            <a:off x="257292" y="735980"/>
            <a:ext cx="8723112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1">
            <a:extLst>
              <a:ext uri="{FF2B5EF4-FFF2-40B4-BE49-F238E27FC236}">
                <a16:creationId xmlns:a16="http://schemas.microsoft.com/office/drawing/2014/main" id="{6AA07686-1680-45FB-A527-515511401E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843" y="136374"/>
            <a:ext cx="8664314" cy="599605"/>
          </a:xfrm>
        </p:spPr>
        <p:txBody>
          <a:bodyPr>
            <a:noAutofit/>
          </a:bodyPr>
          <a:lstStyle/>
          <a:p>
            <a:r>
              <a:rPr lang="en-US" b="1" dirty="0"/>
              <a:t>Explorations on Dataset: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ABAE355-0EBA-460A-A825-4D782952B1D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91277" y="768935"/>
            <a:ext cx="2156723" cy="13716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68AD46FD-96C5-452E-8896-AEBDA55F8B4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40088" y="768935"/>
            <a:ext cx="2156723" cy="13716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644EBE65-0331-4D96-A928-36D984FE04D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88899" y="768935"/>
            <a:ext cx="2156723" cy="137160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FB1D0AE5-90CB-4059-8ABE-BEB9055ADE0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91277" y="2117655"/>
            <a:ext cx="2156723" cy="137160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25B1A2BC-9F3C-460B-AD51-F4CEAAD1578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40088" y="2117655"/>
            <a:ext cx="2156723" cy="137160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F3738F9C-E8AD-44EC-9B81-C9E08F94DD8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88899" y="2117655"/>
            <a:ext cx="2156723" cy="137160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04CAEA75-6190-4694-A44B-759A7A0D0E1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691277" y="3545094"/>
            <a:ext cx="2156723" cy="137160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0B6F6003-B3AF-4DC1-8582-DAE40AC2F1E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140088" y="3541053"/>
            <a:ext cx="2156723" cy="1371600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E3E97C17-6E5A-4839-BD4E-E6035C5C092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702984" y="3541053"/>
            <a:ext cx="2156723" cy="1371600"/>
          </a:xfrm>
          <a:prstGeom prst="rect">
            <a:avLst/>
          </a:prstGeom>
        </p:spPr>
      </p:pic>
      <p:sp>
        <p:nvSpPr>
          <p:cNvPr id="23" name="Arrow: Left 32">
            <a:extLst>
              <a:ext uri="{FF2B5EF4-FFF2-40B4-BE49-F238E27FC236}">
                <a16:creationId xmlns:a16="http://schemas.microsoft.com/office/drawing/2014/main" id="{B0C16541-489D-4681-9E24-481C2CB08EDE}"/>
              </a:ext>
            </a:extLst>
          </p:cNvPr>
          <p:cNvSpPr/>
          <p:nvPr/>
        </p:nvSpPr>
        <p:spPr>
          <a:xfrm rot="10800000" flipV="1">
            <a:off x="44448" y="1207796"/>
            <a:ext cx="1714502" cy="493877"/>
          </a:xfrm>
          <a:prstGeom prst="left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Error Distribution</a:t>
            </a:r>
            <a:endParaRPr lang="en-US" sz="1000" b="1" dirty="0"/>
          </a:p>
        </p:txBody>
      </p:sp>
      <p:sp>
        <p:nvSpPr>
          <p:cNvPr id="25" name="Arrow: Left 32">
            <a:extLst>
              <a:ext uri="{FF2B5EF4-FFF2-40B4-BE49-F238E27FC236}">
                <a16:creationId xmlns:a16="http://schemas.microsoft.com/office/drawing/2014/main" id="{98537B2A-744C-4644-8A6E-3E47422200FA}"/>
              </a:ext>
            </a:extLst>
          </p:cNvPr>
          <p:cNvSpPr/>
          <p:nvPr/>
        </p:nvSpPr>
        <p:spPr>
          <a:xfrm rot="10800000" flipV="1">
            <a:off x="44448" y="2376445"/>
            <a:ext cx="1714501" cy="493877"/>
          </a:xfrm>
          <a:prstGeom prst="left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Maintenance Distribution</a:t>
            </a:r>
            <a:endParaRPr lang="en-US" sz="1000" b="1" dirty="0"/>
          </a:p>
        </p:txBody>
      </p:sp>
      <p:sp>
        <p:nvSpPr>
          <p:cNvPr id="26" name="Arrow: Left 32">
            <a:extLst>
              <a:ext uri="{FF2B5EF4-FFF2-40B4-BE49-F238E27FC236}">
                <a16:creationId xmlns:a16="http://schemas.microsoft.com/office/drawing/2014/main" id="{ED195C10-62EC-4A0E-B49F-EC4EE5B4AC8C}"/>
              </a:ext>
            </a:extLst>
          </p:cNvPr>
          <p:cNvSpPr/>
          <p:nvPr/>
        </p:nvSpPr>
        <p:spPr>
          <a:xfrm rot="10800000" flipV="1">
            <a:off x="44448" y="3808464"/>
            <a:ext cx="1714501" cy="493877"/>
          </a:xfrm>
          <a:prstGeom prst="left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Failure Distribution</a:t>
            </a:r>
            <a:endParaRPr lang="en-US" sz="1000" b="1" dirty="0"/>
          </a:p>
        </p:txBody>
      </p:sp>
    </p:spTree>
    <p:extLst>
      <p:ext uri="{BB962C8B-B14F-4D97-AF65-F5344CB8AC3E}">
        <p14:creationId xmlns:p14="http://schemas.microsoft.com/office/powerpoint/2010/main" val="182827015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Content Placeholder 1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07335" y="836114"/>
            <a:ext cx="5050781" cy="2848987"/>
          </a:xfrm>
          <a:prstGeom prst="rect">
            <a:avLst/>
          </a:prstGeom>
        </p:spPr>
      </p:pic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AND PROPRIETARY INFORMATION. © 2016 SOGETI USA LLC</a:t>
            </a:r>
            <a:endParaRPr lang="en-US" dirty="0"/>
          </a:p>
        </p:txBody>
      </p:sp>
      <p:cxnSp>
        <p:nvCxnSpPr>
          <p:cNvPr id="6" name="Straight Connector 5"/>
          <p:cNvCxnSpPr/>
          <p:nvPr/>
        </p:nvCxnSpPr>
        <p:spPr>
          <a:xfrm>
            <a:off x="257292" y="735980"/>
            <a:ext cx="8723112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1">
            <a:extLst>
              <a:ext uri="{FF2B5EF4-FFF2-40B4-BE49-F238E27FC236}">
                <a16:creationId xmlns:a16="http://schemas.microsoft.com/office/drawing/2014/main" id="{6AA07686-1680-45FB-A527-515511401E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843" y="136374"/>
            <a:ext cx="8664314" cy="599605"/>
          </a:xfrm>
        </p:spPr>
        <p:txBody>
          <a:bodyPr>
            <a:noAutofit/>
          </a:bodyPr>
          <a:lstStyle/>
          <a:p>
            <a:r>
              <a:rPr lang="en-US" b="1" dirty="0"/>
              <a:t>Insights to Predictions :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550014" y="3785234"/>
            <a:ext cx="4578875" cy="830997"/>
          </a:xfrm>
          <a:prstGeom prst="rect">
            <a:avLst/>
          </a:prstGeom>
          <a:noFill/>
          <a:ln>
            <a:solidFill>
              <a:srgbClr val="302B20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 b="1" u="sng" dirty="0"/>
              <a:t>Summary</a:t>
            </a:r>
            <a:r>
              <a:rPr lang="en-US" sz="1200" dirty="0"/>
              <a:t> – Variable </a:t>
            </a:r>
            <a:r>
              <a:rPr lang="en-US" sz="1200" b="1" dirty="0"/>
              <a:t>error2count</a:t>
            </a:r>
            <a:r>
              <a:rPr lang="en-US" sz="1200" dirty="0"/>
              <a:t> is predicted to influence most to cause a certain machine to fail. On the other hand </a:t>
            </a:r>
            <a:r>
              <a:rPr lang="en-US" sz="1200" b="1" dirty="0"/>
              <a:t>vibrationsd_24hrs</a:t>
            </a:r>
            <a:r>
              <a:rPr lang="en-US" sz="1200" dirty="0"/>
              <a:t> and  </a:t>
            </a:r>
            <a:r>
              <a:rPr lang="en-US" sz="1200" b="1" dirty="0" err="1"/>
              <a:t>pressuremean</a:t>
            </a:r>
            <a:r>
              <a:rPr lang="en-US" sz="1200" dirty="0"/>
              <a:t> are predicted not to cause any failure in next 24 hours (as per the dataset used).</a:t>
            </a: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8689215"/>
              </p:ext>
            </p:extLst>
          </p:nvPr>
        </p:nvGraphicFramePr>
        <p:xfrm>
          <a:off x="5358116" y="1044775"/>
          <a:ext cx="3068304" cy="3517360"/>
        </p:xfrm>
        <a:graphic>
          <a:graphicData uri="http://schemas.openxmlformats.org/drawingml/2006/table">
            <a:tbl>
              <a:tblPr/>
              <a:tblGrid>
                <a:gridCol w="10227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2276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2276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21217">
                <a:tc>
                  <a:txBody>
                    <a:bodyPr/>
                    <a:lstStyle/>
                    <a:p>
                      <a:pPr algn="l" fontAlgn="ctr"/>
                      <a:endParaRPr lang="en-US" sz="700" b="1" dirty="0">
                        <a:effectLst/>
                      </a:endParaRP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1" dirty="0">
                          <a:effectLst/>
                        </a:rPr>
                        <a:t>variable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1" dirty="0">
                          <a:effectLst/>
                        </a:rPr>
                        <a:t>Relative</a:t>
                      </a:r>
                      <a:r>
                        <a:rPr lang="en-US" sz="700" b="1" baseline="0" dirty="0">
                          <a:effectLst/>
                        </a:rPr>
                        <a:t> Influence</a:t>
                      </a:r>
                      <a:endParaRPr lang="en-US" sz="700" b="1" dirty="0">
                        <a:effectLst/>
                      </a:endParaRP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1217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1">
                          <a:effectLst/>
                        </a:rPr>
                        <a:t>error2count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error2count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17.55478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1217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1">
                          <a:effectLst/>
                        </a:rPr>
                        <a:t>error5count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error5count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14.92207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21217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1">
                          <a:effectLst/>
                        </a:rPr>
                        <a:t>voltmean_24hrs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voltmean_24hrs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14.2271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21217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1">
                          <a:effectLst/>
                        </a:rPr>
                        <a:t>vibrationmean_24hrs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vibrationmean_24hrs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12.93978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21217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1">
                          <a:effectLst/>
                        </a:rPr>
                        <a:t>error3count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error3count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11.06276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21217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1">
                          <a:effectLst/>
                        </a:rPr>
                        <a:t>pressuremean_24hrs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pressuremean_24hrs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9.595632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21217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1">
                          <a:effectLst/>
                        </a:rPr>
                        <a:t>rotatemean_24hrs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rotatemean_24hrs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7.292141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21217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1">
                          <a:effectLst/>
                        </a:rPr>
                        <a:t>error1count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error1count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6.60328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21217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1">
                          <a:effectLst/>
                        </a:rPr>
                        <a:t>error4count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error4count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3.716549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21217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1">
                          <a:effectLst/>
                        </a:rPr>
                        <a:t>sincelastcomp1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sincelastcomp1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1.364124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21217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1">
                          <a:effectLst/>
                        </a:rPr>
                        <a:t>model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model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0.3032902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21217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1">
                          <a:effectLst/>
                        </a:rPr>
                        <a:t>sincelastcomp3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sincelastcomp3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0.2124723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21217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1">
                          <a:effectLst/>
                        </a:rPr>
                        <a:t>vibrationmean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vibrationmean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0.05653781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21217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1">
                          <a:effectLst/>
                        </a:rPr>
                        <a:t>rotatemean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rotatemean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0.03527521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21217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1">
                          <a:effectLst/>
                        </a:rPr>
                        <a:t>pressuresd_24hrs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pressuresd_24hrs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0.02871147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21217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1">
                          <a:effectLst/>
                        </a:rPr>
                        <a:t>sincelastcomp4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sincelastcomp4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0.02720787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21217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1">
                          <a:effectLst/>
                        </a:rPr>
                        <a:t>age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age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0.02229394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21217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1">
                          <a:effectLst/>
                        </a:rPr>
                        <a:t>voltmean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voltmean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0.01600519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21217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1">
                          <a:effectLst/>
                        </a:rPr>
                        <a:t>pressuresd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pressuresd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0.0131631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21217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1">
                          <a:effectLst/>
                        </a:rPr>
                        <a:t>vibrationsd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vibrationsd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0.006823297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21217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1">
                          <a:effectLst/>
                        </a:rPr>
                        <a:t>pressuremean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pressuremean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0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121217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1" dirty="0" err="1">
                          <a:effectLst/>
                        </a:rPr>
                        <a:t>voltsd</a:t>
                      </a:r>
                      <a:endParaRPr lang="en-US" sz="700" b="1" dirty="0">
                        <a:effectLst/>
                      </a:endParaRP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voltsd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0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  <a:tr h="121217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1">
                          <a:effectLst/>
                        </a:rPr>
                        <a:t>rotatesd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rotatesd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0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3"/>
                  </a:ext>
                </a:extLst>
              </a:tr>
              <a:tr h="121217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1">
                          <a:effectLst/>
                        </a:rPr>
                        <a:t>voltsd_24hrs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voltsd_24hrs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0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121217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1">
                          <a:effectLst/>
                        </a:rPr>
                        <a:t>rotatesd_24hrs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rotatesd_24hrs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0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  <a:tr h="121217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1">
                          <a:effectLst/>
                        </a:rPr>
                        <a:t>vibrationsd_24hrs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vibrationsd_24hrs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0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6"/>
                  </a:ext>
                </a:extLst>
              </a:tr>
              <a:tr h="121217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1">
                          <a:effectLst/>
                        </a:rPr>
                        <a:t>sincelastcomp2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sincelastcomp2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dirty="0">
                          <a:effectLst/>
                        </a:rPr>
                        <a:t>0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932643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Custom Design">
  <a:themeElements>
    <a:clrScheme name="Sogeti">
      <a:dk1>
        <a:srgbClr val="262626"/>
      </a:dk1>
      <a:lt1>
        <a:sysClr val="window" lastClr="FFFFFF"/>
      </a:lt1>
      <a:dk2>
        <a:srgbClr val="FF4019"/>
      </a:dk2>
      <a:lt2>
        <a:srgbClr val="FFFFFF"/>
      </a:lt2>
      <a:accent1>
        <a:srgbClr val="FF4019"/>
      </a:accent1>
      <a:accent2>
        <a:srgbClr val="262626"/>
      </a:accent2>
      <a:accent3>
        <a:srgbClr val="595959"/>
      </a:accent3>
      <a:accent4>
        <a:srgbClr val="7F7F7F"/>
      </a:accent4>
      <a:accent5>
        <a:srgbClr val="C4BBAF"/>
      </a:accent5>
      <a:accent6>
        <a:srgbClr val="F2F2F2"/>
      </a:accent6>
      <a:hlink>
        <a:srgbClr val="FF4019"/>
      </a:hlink>
      <a:folHlink>
        <a:srgbClr val="FF401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3_Custom Design">
  <a:themeElements>
    <a:clrScheme name="Sogeti">
      <a:dk1>
        <a:srgbClr val="262626"/>
      </a:dk1>
      <a:lt1>
        <a:sysClr val="window" lastClr="FFFFFF"/>
      </a:lt1>
      <a:dk2>
        <a:srgbClr val="FF4019"/>
      </a:dk2>
      <a:lt2>
        <a:srgbClr val="FFFFFF"/>
      </a:lt2>
      <a:accent1>
        <a:srgbClr val="FF4019"/>
      </a:accent1>
      <a:accent2>
        <a:srgbClr val="262626"/>
      </a:accent2>
      <a:accent3>
        <a:srgbClr val="595959"/>
      </a:accent3>
      <a:accent4>
        <a:srgbClr val="7F7F7F"/>
      </a:accent4>
      <a:accent5>
        <a:srgbClr val="C4BBAF"/>
      </a:accent5>
      <a:accent6>
        <a:srgbClr val="F2F2F2"/>
      </a:accent6>
      <a:hlink>
        <a:srgbClr val="FF4019"/>
      </a:hlink>
      <a:folHlink>
        <a:srgbClr val="FF401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68F692454C0164999DCCAF4D3B80B9C" ma:contentTypeVersion="0" ma:contentTypeDescription="Create a new document." ma:contentTypeScope="" ma:versionID="4ff2981788c62f8e54db9cd80ffdb9de">
  <xsd:schema xmlns:xsd="http://www.w3.org/2001/XMLSchema" xmlns:p="http://schemas.microsoft.com/office/2006/metadata/properties" targetNamespace="http://schemas.microsoft.com/office/2006/metadata/properties" ma:root="true" ma:fieldsID="4aeb20c0e3442673af7ee10786458764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D79BD86-BA74-4055-9222-7F346FED871B}">
  <ds:schemaRefs>
    <ds:schemaRef ds:uri="http://purl.org/dc/terms/"/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00CD3603-618B-4ECD-B77D-1D043655243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3.xml><?xml version="1.0" encoding="utf-8"?>
<ds:datastoreItem xmlns:ds="http://schemas.openxmlformats.org/officeDocument/2006/customXml" ds:itemID="{D66BBFD8-B944-4927-B9E7-95627CF9F00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3624</TotalTime>
  <Words>522</Words>
  <Application>Microsoft Office PowerPoint</Application>
  <PresentationFormat>On-screen Show (16:9)</PresentationFormat>
  <Paragraphs>195</Paragraphs>
  <Slides>7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6" baseType="lpstr">
      <vt:lpstr>Arial</vt:lpstr>
      <vt:lpstr>Calibri</vt:lpstr>
      <vt:lpstr>Calibri Light</vt:lpstr>
      <vt:lpstr>Source Sans Pro Light</vt:lpstr>
      <vt:lpstr>Symbol</vt:lpstr>
      <vt:lpstr>Wingdings</vt:lpstr>
      <vt:lpstr>1_Custom Design</vt:lpstr>
      <vt:lpstr>3_Custom Design</vt:lpstr>
      <vt:lpstr>think-cell Slide</vt:lpstr>
      <vt:lpstr>Schwan’s – Use Case – Manufacturing Analytics – Predict Plant Outage</vt:lpstr>
      <vt:lpstr>Predict Plants Outage :</vt:lpstr>
      <vt:lpstr>Architecture Built : </vt:lpstr>
      <vt:lpstr>Dataset View: </vt:lpstr>
      <vt:lpstr>Explorations on Dataset:</vt:lpstr>
      <vt:lpstr>Explorations on Dataset:</vt:lpstr>
      <vt:lpstr>Insights to Predictions :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chnight.Ecolab-CaseStudy</dc:title>
  <dc:creator>Gairola, Samarth</dc:creator>
  <cp:lastModifiedBy>Chevvuri, Deepti</cp:lastModifiedBy>
  <cp:revision>853</cp:revision>
  <cp:lastPrinted>2016-03-09T19:24:21Z</cp:lastPrinted>
  <dcterms:created xsi:type="dcterms:W3CDTF">2015-01-08T13:55:19Z</dcterms:created>
  <dcterms:modified xsi:type="dcterms:W3CDTF">2017-10-12T20:18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68F692454C0164999DCCAF4D3B80B9C</vt:lpwstr>
  </property>
</Properties>
</file>